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  <p:sldMasterId id="2147484495" r:id="rId5"/>
    <p:sldMasterId id="2147484501" r:id="rId6"/>
    <p:sldMasterId id="2147484507" r:id="rId7"/>
  </p:sldMasterIdLst>
  <p:notesMasterIdLst>
    <p:notesMasterId r:id="rId12"/>
  </p:notesMasterIdLst>
  <p:handoutMasterIdLst>
    <p:handoutMasterId r:id="rId13"/>
  </p:handoutMasterIdLst>
  <p:sldIdLst>
    <p:sldId id="2146849870" r:id="rId8"/>
    <p:sldId id="2141411793" r:id="rId9"/>
    <p:sldId id="2146849824" r:id="rId10"/>
    <p:sldId id="2146850006" r:id="rId11"/>
  </p:sldIdLst>
  <p:sldSz cx="12192000" cy="6858000"/>
  <p:notesSz cx="6797675" cy="992822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9" d="100"/>
          <a:sy n="129" d="100"/>
        </p:scale>
        <p:origin x="632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50349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680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11809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03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17308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0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60257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86516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707467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6526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2282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7543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848927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39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31257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3290708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77472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728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02407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865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44732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432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04325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31298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20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9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7551791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78985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6" r:id="rId1"/>
    <p:sldLayoutId id="2147484497" r:id="rId2"/>
    <p:sldLayoutId id="2147484498" r:id="rId3"/>
    <p:sldLayoutId id="2147484499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0462367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95685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5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61098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4058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509" r:id="rId2"/>
    <p:sldLayoutId id="2147484510" r:id="rId3"/>
    <p:sldLayoutId id="2147484511" r:id="rId4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5.emf"/><Relationship Id="rId4" Type="http://schemas.openxmlformats.org/officeDocument/2006/relationships/tags" Target="../tags/tag42.xml"/><Relationship Id="rId9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8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8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3.xml><?xml version="1.0" encoding="utf-8"?>
<a:theme xmlns:a="http://schemas.openxmlformats.org/drawingml/2006/main" name="9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4.xml><?xml version="1.0" encoding="utf-8"?>
<a:theme xmlns:a="http://schemas.openxmlformats.org/drawingml/2006/main" name="10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4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EYInterstate Light</vt:lpstr>
      <vt:lpstr>Wingdings 3</vt:lpstr>
      <vt:lpstr>7_EY-P Widescreen Template 2020</vt:lpstr>
      <vt:lpstr>8_EY-P Widescreen Template 2020</vt:lpstr>
      <vt:lpstr>9_EY-P Widescreen Template 2020</vt:lpstr>
      <vt:lpstr>10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6</cp:revision>
  <dcterms:created xsi:type="dcterms:W3CDTF">2021-10-06T10:51:33Z</dcterms:created>
  <dcterms:modified xsi:type="dcterms:W3CDTF">2024-01-03T12:14:2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